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3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C2AC71-B080-2315-2361-3D0FFAFDD2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C84338-6434-671C-3A2F-554036253B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B5EC911-D3B5-36BE-B8DB-654D2EB3F9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6 agenda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ECB95D77-41B1-F08E-DC4D-A17D924F5F39}"/>
              </a:ext>
            </a:extLst>
          </p:cNvPr>
          <p:cNvSpPr/>
          <p:nvPr/>
        </p:nvSpPr>
        <p:spPr>
          <a:xfrm>
            <a:off x="838201" y="1560946"/>
            <a:ext cx="2684318" cy="1967345"/>
          </a:xfrm>
          <a:custGeom>
            <a:avLst/>
            <a:gdLst/>
            <a:ahLst/>
            <a:cxnLst/>
            <a:rect l="l" t="t" r="r" b="b"/>
            <a:pathLst>
              <a:path w="2684318" h="1967345">
                <a:moveTo>
                  <a:pt x="0" y="0"/>
                </a:moveTo>
                <a:lnTo>
                  <a:pt x="2684318" y="0"/>
                </a:lnTo>
                <a:lnTo>
                  <a:pt x="2684318" y="1967345"/>
                </a:lnTo>
                <a:lnTo>
                  <a:pt x="0" y="1967345"/>
                </a:lnTo>
                <a:lnTo>
                  <a:pt x="0" y="1730432"/>
                </a:lnTo>
                <a:lnTo>
                  <a:pt x="213681" y="1730432"/>
                </a:lnTo>
                <a:lnTo>
                  <a:pt x="213681" y="220347"/>
                </a:lnTo>
                <a:lnTo>
                  <a:pt x="181530" y="220347"/>
                </a:lnTo>
                <a:lnTo>
                  <a:pt x="0" y="28313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ts val="1300"/>
              </a:lnSpc>
              <a:spcAft>
                <a:spcPts val="1200"/>
              </a:spcAft>
            </a:pPr>
            <a:endParaRPr lang="en-US" sz="1600" b="1" dirty="0">
              <a:solidFill>
                <a:schemeClr val="bg1"/>
              </a:solidFill>
            </a:endParaRPr>
          </a:p>
          <a:p>
            <a:pPr lvl="0">
              <a:lnSpc>
                <a:spcPts val="13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bg1"/>
                </a:solidFill>
              </a:rPr>
              <a:t>Insert Text Here </a:t>
            </a:r>
          </a:p>
          <a:p>
            <a:pPr lvl="0">
              <a:lnSpc>
                <a:spcPts val="1300"/>
              </a:lnSpc>
            </a:pPr>
            <a:r>
              <a:rPr lang="en-US" sz="1100" dirty="0">
                <a:solidFill>
                  <a:schemeClr val="bg1"/>
                </a:solidFill>
              </a:rPr>
              <a:t>Insert text Insert text</a:t>
            </a:r>
          </a:p>
          <a:p>
            <a:pPr lvl="0">
              <a:lnSpc>
                <a:spcPts val="1300"/>
              </a:lnSpc>
            </a:pPr>
            <a:r>
              <a:rPr lang="en-US" sz="1100" dirty="0">
                <a:solidFill>
                  <a:schemeClr val="bg1"/>
                </a:solidFill>
              </a:rPr>
              <a:t>Insert text Insert text</a:t>
            </a:r>
          </a:p>
          <a:p>
            <a:pPr lvl="0">
              <a:lnSpc>
                <a:spcPts val="1300"/>
              </a:lnSpc>
            </a:pPr>
            <a:r>
              <a:rPr lang="en-US" sz="1100" dirty="0">
                <a:solidFill>
                  <a:schemeClr val="bg1"/>
                </a:solidFill>
              </a:rPr>
              <a:t>Insert text Insert text</a:t>
            </a:r>
          </a:p>
          <a:p>
            <a:pPr lvl="0">
              <a:lnSpc>
                <a:spcPts val="1300"/>
              </a:lnSpc>
            </a:pPr>
            <a:endParaRPr lang="en-US" sz="1100" dirty="0">
              <a:solidFill>
                <a:schemeClr val="bg1"/>
              </a:solidFill>
            </a:endParaRPr>
          </a:p>
          <a:p>
            <a:pPr lvl="0">
              <a:lnSpc>
                <a:spcPts val="1300"/>
              </a:lnSpc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E1E1D861-A41D-9515-484E-15862ED60F00}"/>
              </a:ext>
            </a:extLst>
          </p:cNvPr>
          <p:cNvSpPr/>
          <p:nvPr/>
        </p:nvSpPr>
        <p:spPr>
          <a:xfrm>
            <a:off x="4753841" y="1560946"/>
            <a:ext cx="2684318" cy="1967345"/>
          </a:xfrm>
          <a:custGeom>
            <a:avLst/>
            <a:gdLst>
              <a:gd name="connsiteX0" fmla="*/ 0 w 2684318"/>
              <a:gd name="connsiteY0" fmla="*/ 0 h 1967345"/>
              <a:gd name="connsiteX1" fmla="*/ 2684318 w 2684318"/>
              <a:gd name="connsiteY1" fmla="*/ 0 h 1967345"/>
              <a:gd name="connsiteX2" fmla="*/ 2684318 w 2684318"/>
              <a:gd name="connsiteY2" fmla="*/ 1967345 h 1967345"/>
              <a:gd name="connsiteX3" fmla="*/ 0 w 2684318"/>
              <a:gd name="connsiteY3" fmla="*/ 1967345 h 1967345"/>
              <a:gd name="connsiteX4" fmla="*/ 0 w 2684318"/>
              <a:gd name="connsiteY4" fmla="*/ 1730432 h 1967345"/>
              <a:gd name="connsiteX5" fmla="*/ 591659 w 2684318"/>
              <a:gd name="connsiteY5" fmla="*/ 1730432 h 1967345"/>
              <a:gd name="connsiteX6" fmla="*/ 591659 w 2684318"/>
              <a:gd name="connsiteY6" fmla="*/ 1460774 h 1967345"/>
              <a:gd name="connsiteX7" fmla="*/ 0 w 2684318"/>
              <a:gd name="connsiteY7" fmla="*/ 1460774 h 1967345"/>
              <a:gd name="connsiteX8" fmla="*/ 0 w 2684318"/>
              <a:gd name="connsiteY8" fmla="*/ 1457742 h 1967345"/>
              <a:gd name="connsiteX9" fmla="*/ 192357 w 2684318"/>
              <a:gd name="connsiteY9" fmla="*/ 1235713 h 1967345"/>
              <a:gd name="connsiteX10" fmla="*/ 417937 w 2684318"/>
              <a:gd name="connsiteY10" fmla="*/ 987317 h 1967345"/>
              <a:gd name="connsiteX11" fmla="*/ 521133 w 2684318"/>
              <a:gd name="connsiteY11" fmla="*/ 809965 h 1967345"/>
              <a:gd name="connsiteX12" fmla="*/ 554321 w 2684318"/>
              <a:gd name="connsiteY12" fmla="*/ 636243 h 1967345"/>
              <a:gd name="connsiteX13" fmla="*/ 422085 w 2684318"/>
              <a:gd name="connsiteY13" fmla="*/ 311616 h 1967345"/>
              <a:gd name="connsiteX14" fmla="*/ 45083 w 2684318"/>
              <a:gd name="connsiteY14" fmla="*/ 198567 h 1967345"/>
              <a:gd name="connsiteX15" fmla="*/ 0 w 2684318"/>
              <a:gd name="connsiteY15" fmla="*/ 201080 h 1967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684318" h="1967345">
                <a:moveTo>
                  <a:pt x="0" y="0"/>
                </a:moveTo>
                <a:lnTo>
                  <a:pt x="2684318" y="0"/>
                </a:lnTo>
                <a:lnTo>
                  <a:pt x="2684318" y="1967345"/>
                </a:lnTo>
                <a:lnTo>
                  <a:pt x="0" y="1967345"/>
                </a:lnTo>
                <a:lnTo>
                  <a:pt x="0" y="1730432"/>
                </a:lnTo>
                <a:lnTo>
                  <a:pt x="591659" y="1730432"/>
                </a:lnTo>
                <a:lnTo>
                  <a:pt x="591659" y="1460774"/>
                </a:lnTo>
                <a:lnTo>
                  <a:pt x="0" y="1460774"/>
                </a:lnTo>
                <a:lnTo>
                  <a:pt x="0" y="1457742"/>
                </a:lnTo>
                <a:lnTo>
                  <a:pt x="192357" y="1235713"/>
                </a:lnTo>
                <a:cubicBezTo>
                  <a:pt x="296072" y="1131998"/>
                  <a:pt x="371265" y="1049200"/>
                  <a:pt x="417937" y="987317"/>
                </a:cubicBezTo>
                <a:cubicBezTo>
                  <a:pt x="464608" y="925433"/>
                  <a:pt x="499007" y="866316"/>
                  <a:pt x="521133" y="809965"/>
                </a:cubicBezTo>
                <a:cubicBezTo>
                  <a:pt x="543258" y="753613"/>
                  <a:pt x="554321" y="695706"/>
                  <a:pt x="554321" y="636243"/>
                </a:cubicBezTo>
                <a:cubicBezTo>
                  <a:pt x="554321" y="495191"/>
                  <a:pt x="510243" y="386982"/>
                  <a:pt x="422085" y="311616"/>
                </a:cubicBezTo>
                <a:cubicBezTo>
                  <a:pt x="333928" y="236250"/>
                  <a:pt x="208260" y="198567"/>
                  <a:pt x="45083" y="198567"/>
                </a:cubicBezTo>
                <a:lnTo>
                  <a:pt x="0" y="20108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ts val="13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bg1"/>
                </a:solidFill>
              </a:rPr>
              <a:t>Insert Text Here </a:t>
            </a:r>
          </a:p>
          <a:p>
            <a:pPr lvl="0">
              <a:lnSpc>
                <a:spcPts val="1300"/>
              </a:lnSpc>
            </a:pPr>
            <a:r>
              <a:rPr lang="en-US" sz="1100" dirty="0">
                <a:solidFill>
                  <a:schemeClr val="bg1"/>
                </a:solidFill>
              </a:rPr>
              <a:t>Insert text Insert text</a:t>
            </a:r>
          </a:p>
          <a:p>
            <a:pPr lvl="0">
              <a:lnSpc>
                <a:spcPts val="1300"/>
              </a:lnSpc>
            </a:pPr>
            <a:r>
              <a:rPr lang="en-US" sz="1100" dirty="0">
                <a:solidFill>
                  <a:schemeClr val="bg1"/>
                </a:solidFill>
              </a:rPr>
              <a:t>Insert text Insert text</a:t>
            </a:r>
          </a:p>
          <a:p>
            <a:pPr lvl="0">
              <a:lnSpc>
                <a:spcPts val="1300"/>
              </a:lnSpc>
            </a:pPr>
            <a:r>
              <a:rPr lang="en-US" sz="1100" dirty="0">
                <a:solidFill>
                  <a:schemeClr val="bg1"/>
                </a:solidFill>
              </a:rPr>
              <a:t>Insert text Insert text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08F2661-0DF1-2515-77FB-A38746F8C389}"/>
              </a:ext>
            </a:extLst>
          </p:cNvPr>
          <p:cNvSpPr/>
          <p:nvPr/>
        </p:nvSpPr>
        <p:spPr>
          <a:xfrm>
            <a:off x="8669482" y="1560946"/>
            <a:ext cx="2684318" cy="1967345"/>
          </a:xfrm>
          <a:custGeom>
            <a:avLst/>
            <a:gdLst>
              <a:gd name="connsiteX0" fmla="*/ 0 w 2684318"/>
              <a:gd name="connsiteY0" fmla="*/ 0 h 1967345"/>
              <a:gd name="connsiteX1" fmla="*/ 2684318 w 2684318"/>
              <a:gd name="connsiteY1" fmla="*/ 0 h 1967345"/>
              <a:gd name="connsiteX2" fmla="*/ 2684318 w 2684318"/>
              <a:gd name="connsiteY2" fmla="*/ 1967345 h 1967345"/>
              <a:gd name="connsiteX3" fmla="*/ 0 w 2684318"/>
              <a:gd name="connsiteY3" fmla="*/ 1967345 h 1967345"/>
              <a:gd name="connsiteX4" fmla="*/ 0 w 2684318"/>
              <a:gd name="connsiteY4" fmla="*/ 1746670 h 1967345"/>
              <a:gd name="connsiteX5" fmla="*/ 48905 w 2684318"/>
              <a:gd name="connsiteY5" fmla="*/ 1743591 h 1967345"/>
              <a:gd name="connsiteX6" fmla="*/ 337102 w 2684318"/>
              <a:gd name="connsiteY6" fmla="*/ 1629829 h 1967345"/>
              <a:gd name="connsiteX7" fmla="*/ 492674 w 2684318"/>
              <a:gd name="connsiteY7" fmla="*/ 1306239 h 1967345"/>
              <a:gd name="connsiteX8" fmla="*/ 424222 w 2684318"/>
              <a:gd name="connsiteY8" fmla="*/ 1086883 h 1967345"/>
              <a:gd name="connsiteX9" fmla="*/ 235461 w 2684318"/>
              <a:gd name="connsiteY9" fmla="*/ 954646 h 1967345"/>
              <a:gd name="connsiteX10" fmla="*/ 409183 w 2684318"/>
              <a:gd name="connsiteY10" fmla="*/ 814113 h 1967345"/>
              <a:gd name="connsiteX11" fmla="*/ 468819 w 2684318"/>
              <a:gd name="connsiteY11" fmla="*/ 630020 h 1967345"/>
              <a:gd name="connsiteX12" fmla="*/ 324656 w 2684318"/>
              <a:gd name="connsiteY12" fmla="*/ 313690 h 1967345"/>
              <a:gd name="connsiteX13" fmla="*/ 47738 w 2684318"/>
              <a:gd name="connsiteY13" fmla="*/ 205762 h 1967345"/>
              <a:gd name="connsiteX14" fmla="*/ 0 w 2684318"/>
              <a:gd name="connsiteY14" fmla="*/ 202882 h 1967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684318" h="1967345">
                <a:moveTo>
                  <a:pt x="0" y="0"/>
                </a:moveTo>
                <a:lnTo>
                  <a:pt x="2684318" y="0"/>
                </a:lnTo>
                <a:lnTo>
                  <a:pt x="2684318" y="1967345"/>
                </a:lnTo>
                <a:lnTo>
                  <a:pt x="0" y="1967345"/>
                </a:lnTo>
                <a:lnTo>
                  <a:pt x="0" y="1746670"/>
                </a:lnTo>
                <a:lnTo>
                  <a:pt x="48905" y="1743591"/>
                </a:lnTo>
                <a:cubicBezTo>
                  <a:pt x="163250" y="1728422"/>
                  <a:pt x="259316" y="1690502"/>
                  <a:pt x="337102" y="1629829"/>
                </a:cubicBezTo>
                <a:cubicBezTo>
                  <a:pt x="440816" y="1548931"/>
                  <a:pt x="492674" y="1441068"/>
                  <a:pt x="492674" y="1306239"/>
                </a:cubicBezTo>
                <a:cubicBezTo>
                  <a:pt x="492674" y="1219119"/>
                  <a:pt x="469856" y="1146000"/>
                  <a:pt x="424222" y="1086883"/>
                </a:cubicBezTo>
                <a:cubicBezTo>
                  <a:pt x="378587" y="1027765"/>
                  <a:pt x="315667" y="983687"/>
                  <a:pt x="235461" y="954646"/>
                </a:cubicBezTo>
                <a:cubicBezTo>
                  <a:pt x="311519" y="918692"/>
                  <a:pt x="369426" y="871848"/>
                  <a:pt x="409183" y="814113"/>
                </a:cubicBezTo>
                <a:cubicBezTo>
                  <a:pt x="448941" y="756379"/>
                  <a:pt x="468819" y="695014"/>
                  <a:pt x="468819" y="630020"/>
                </a:cubicBezTo>
                <a:cubicBezTo>
                  <a:pt x="468819" y="495882"/>
                  <a:pt x="420765" y="390439"/>
                  <a:pt x="324656" y="313690"/>
                </a:cubicBezTo>
                <a:cubicBezTo>
                  <a:pt x="252574" y="256129"/>
                  <a:pt x="160268" y="220153"/>
                  <a:pt x="47738" y="205762"/>
                </a:cubicBezTo>
                <a:lnTo>
                  <a:pt x="0" y="20288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ts val="1300"/>
              </a:lnSpc>
            </a:pPr>
            <a:r>
              <a:rPr lang="en-US" sz="1600" b="1" dirty="0">
                <a:solidFill>
                  <a:schemeClr val="bg1"/>
                </a:solidFill>
              </a:rPr>
              <a:t>Insert Text Here </a:t>
            </a:r>
            <a:br>
              <a:rPr lang="en-US" sz="1600" b="1" dirty="0">
                <a:solidFill>
                  <a:schemeClr val="bg1"/>
                </a:solidFill>
              </a:rPr>
            </a:br>
            <a:br>
              <a:rPr lang="en-US" sz="1600" b="1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Insert text Insert text</a:t>
            </a:r>
          </a:p>
          <a:p>
            <a:pPr lvl="0">
              <a:lnSpc>
                <a:spcPts val="1300"/>
              </a:lnSpc>
            </a:pPr>
            <a:r>
              <a:rPr lang="en-US" sz="1100" dirty="0">
                <a:solidFill>
                  <a:schemeClr val="bg1"/>
                </a:solidFill>
              </a:rPr>
              <a:t>Insert text Insert text</a:t>
            </a:r>
          </a:p>
          <a:p>
            <a:pPr lvl="0">
              <a:lnSpc>
                <a:spcPts val="1300"/>
              </a:lnSpc>
            </a:pPr>
            <a:r>
              <a:rPr lang="en-US" sz="1100" dirty="0">
                <a:solidFill>
                  <a:schemeClr val="bg1"/>
                </a:solidFill>
              </a:rPr>
              <a:t>Insert text Insert text</a:t>
            </a:r>
          </a:p>
          <a:p>
            <a:pPr lvl="0">
              <a:lnSpc>
                <a:spcPts val="1300"/>
              </a:lnSpc>
              <a:spcAft>
                <a:spcPts val="1200"/>
              </a:spcAft>
            </a:pPr>
            <a:endParaRPr lang="en-US" sz="16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D87AAB0E-7DFB-731F-1E42-B6DCF5EA7F66}"/>
              </a:ext>
            </a:extLst>
          </p:cNvPr>
          <p:cNvSpPr/>
          <p:nvPr/>
        </p:nvSpPr>
        <p:spPr>
          <a:xfrm>
            <a:off x="838201" y="4014317"/>
            <a:ext cx="2684318" cy="1967345"/>
          </a:xfrm>
          <a:custGeom>
            <a:avLst/>
            <a:gdLst/>
            <a:ahLst/>
            <a:cxnLst/>
            <a:rect l="l" t="t" r="r" b="b"/>
            <a:pathLst>
              <a:path w="2684318" h="1967345">
                <a:moveTo>
                  <a:pt x="0" y="0"/>
                </a:moveTo>
                <a:lnTo>
                  <a:pt x="2684318" y="0"/>
                </a:lnTo>
                <a:lnTo>
                  <a:pt x="2684318" y="1967345"/>
                </a:lnTo>
                <a:lnTo>
                  <a:pt x="0" y="1967345"/>
                </a:lnTo>
                <a:lnTo>
                  <a:pt x="0" y="1730432"/>
                </a:lnTo>
                <a:lnTo>
                  <a:pt x="196175" y="1730432"/>
                </a:lnTo>
                <a:lnTo>
                  <a:pt x="196175" y="1409954"/>
                </a:lnTo>
                <a:lnTo>
                  <a:pt x="349673" y="1409954"/>
                </a:lnTo>
                <a:lnTo>
                  <a:pt x="349673" y="1140296"/>
                </a:lnTo>
                <a:lnTo>
                  <a:pt x="196175" y="1140296"/>
                </a:lnTo>
                <a:lnTo>
                  <a:pt x="196175" y="220347"/>
                </a:lnTo>
                <a:lnTo>
                  <a:pt x="0" y="220347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ts val="13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bg1"/>
                </a:solidFill>
              </a:rPr>
              <a:t>Insert Text Here</a:t>
            </a:r>
          </a:p>
          <a:p>
            <a:pPr lvl="0">
              <a:lnSpc>
                <a:spcPts val="1300"/>
              </a:lnSpc>
            </a:pPr>
            <a:r>
              <a:rPr lang="en-US" sz="1100" dirty="0">
                <a:solidFill>
                  <a:schemeClr val="bg1"/>
                </a:solidFill>
              </a:rPr>
              <a:t>Insert text Insert text</a:t>
            </a:r>
          </a:p>
          <a:p>
            <a:pPr lvl="0">
              <a:lnSpc>
                <a:spcPts val="1300"/>
              </a:lnSpc>
            </a:pPr>
            <a:r>
              <a:rPr lang="en-US" sz="1100" dirty="0">
                <a:solidFill>
                  <a:schemeClr val="bg1"/>
                </a:solidFill>
              </a:rPr>
              <a:t>Insert text Insert text</a:t>
            </a:r>
          </a:p>
          <a:p>
            <a:pPr lvl="0">
              <a:lnSpc>
                <a:spcPts val="1300"/>
              </a:lnSpc>
            </a:pPr>
            <a:r>
              <a:rPr lang="en-US" sz="1100" dirty="0">
                <a:solidFill>
                  <a:schemeClr val="bg1"/>
                </a:solidFill>
              </a:rPr>
              <a:t>Insert text Insert text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3BAC419-FB25-99B1-3C8E-79404F61B541}"/>
              </a:ext>
            </a:extLst>
          </p:cNvPr>
          <p:cNvSpPr/>
          <p:nvPr/>
        </p:nvSpPr>
        <p:spPr>
          <a:xfrm>
            <a:off x="4753841" y="4014317"/>
            <a:ext cx="2684318" cy="1967345"/>
          </a:xfrm>
          <a:custGeom>
            <a:avLst/>
            <a:gdLst>
              <a:gd name="connsiteX0" fmla="*/ 0 w 2684318"/>
              <a:gd name="connsiteY0" fmla="*/ 0 h 1967345"/>
              <a:gd name="connsiteX1" fmla="*/ 2684318 w 2684318"/>
              <a:gd name="connsiteY1" fmla="*/ 0 h 1967345"/>
              <a:gd name="connsiteX2" fmla="*/ 2684318 w 2684318"/>
              <a:gd name="connsiteY2" fmla="*/ 1967345 h 1967345"/>
              <a:gd name="connsiteX3" fmla="*/ 0 w 2684318"/>
              <a:gd name="connsiteY3" fmla="*/ 1967345 h 1967345"/>
              <a:gd name="connsiteX4" fmla="*/ 0 w 2684318"/>
              <a:gd name="connsiteY4" fmla="*/ 1744728 h 1967345"/>
              <a:gd name="connsiteX5" fmla="*/ 60641 w 2684318"/>
              <a:gd name="connsiteY5" fmla="*/ 1751175 h 1967345"/>
              <a:gd name="connsiteX6" fmla="*/ 337559 w 2684318"/>
              <a:gd name="connsiteY6" fmla="*/ 1687909 h 1967345"/>
              <a:gd name="connsiteX7" fmla="*/ 519578 w 2684318"/>
              <a:gd name="connsiteY7" fmla="*/ 1506927 h 1967345"/>
              <a:gd name="connsiteX8" fmla="*/ 584400 w 2684318"/>
              <a:gd name="connsiteY8" fmla="*/ 1244010 h 1967345"/>
              <a:gd name="connsiteX9" fmla="*/ 463572 w 2684318"/>
              <a:gd name="connsiteY9" fmla="*/ 870119 h 1967345"/>
              <a:gd name="connsiteX10" fmla="*/ 117684 w 2684318"/>
              <a:gd name="connsiteY10" fmla="*/ 736846 h 1967345"/>
              <a:gd name="connsiteX11" fmla="*/ 58955 w 2684318"/>
              <a:gd name="connsiteY11" fmla="*/ 741013 h 1967345"/>
              <a:gd name="connsiteX12" fmla="*/ 0 w 2684318"/>
              <a:gd name="connsiteY12" fmla="*/ 753291 h 1967345"/>
              <a:gd name="connsiteX13" fmla="*/ 0 w 2684318"/>
              <a:gd name="connsiteY13" fmla="*/ 490005 h 1967345"/>
              <a:gd name="connsiteX14" fmla="*/ 533579 w 2684318"/>
              <a:gd name="connsiteY14" fmla="*/ 490005 h 1967345"/>
              <a:gd name="connsiteX15" fmla="*/ 533579 w 2684318"/>
              <a:gd name="connsiteY15" fmla="*/ 220347 h 1967345"/>
              <a:gd name="connsiteX16" fmla="*/ 0 w 2684318"/>
              <a:gd name="connsiteY16" fmla="*/ 220347 h 1967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684318" h="1967345">
                <a:moveTo>
                  <a:pt x="0" y="0"/>
                </a:moveTo>
                <a:lnTo>
                  <a:pt x="2684318" y="0"/>
                </a:lnTo>
                <a:lnTo>
                  <a:pt x="2684318" y="1967345"/>
                </a:lnTo>
                <a:lnTo>
                  <a:pt x="0" y="1967345"/>
                </a:lnTo>
                <a:lnTo>
                  <a:pt x="0" y="1744728"/>
                </a:lnTo>
                <a:lnTo>
                  <a:pt x="60641" y="1751175"/>
                </a:lnTo>
                <a:cubicBezTo>
                  <a:pt x="167121" y="1751175"/>
                  <a:pt x="259427" y="1730086"/>
                  <a:pt x="337559" y="1687909"/>
                </a:cubicBezTo>
                <a:cubicBezTo>
                  <a:pt x="415690" y="1645731"/>
                  <a:pt x="476363" y="1585404"/>
                  <a:pt x="519578" y="1506927"/>
                </a:cubicBezTo>
                <a:cubicBezTo>
                  <a:pt x="562792" y="1428449"/>
                  <a:pt x="584400" y="1340811"/>
                  <a:pt x="584400" y="1244010"/>
                </a:cubicBezTo>
                <a:cubicBezTo>
                  <a:pt x="584400" y="1083598"/>
                  <a:pt x="544124" y="958968"/>
                  <a:pt x="463572" y="870119"/>
                </a:cubicBezTo>
                <a:cubicBezTo>
                  <a:pt x="383020" y="781270"/>
                  <a:pt x="267724" y="736846"/>
                  <a:pt x="117684" y="736846"/>
                </a:cubicBezTo>
                <a:cubicBezTo>
                  <a:pt x="98324" y="736846"/>
                  <a:pt x="78748" y="738235"/>
                  <a:pt x="58955" y="741013"/>
                </a:cubicBezTo>
                <a:lnTo>
                  <a:pt x="0" y="753291"/>
                </a:lnTo>
                <a:lnTo>
                  <a:pt x="0" y="490005"/>
                </a:lnTo>
                <a:lnTo>
                  <a:pt x="533579" y="490005"/>
                </a:lnTo>
                <a:lnTo>
                  <a:pt x="533579" y="220347"/>
                </a:lnTo>
                <a:lnTo>
                  <a:pt x="0" y="220347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ts val="1300"/>
              </a:lnSpc>
            </a:pPr>
            <a:r>
              <a:rPr lang="en-US" sz="1600" b="1" dirty="0">
                <a:solidFill>
                  <a:schemeClr val="bg1"/>
                </a:solidFill>
              </a:rPr>
              <a:t>Insert Text Here </a:t>
            </a:r>
            <a:br>
              <a:rPr lang="en-US" sz="1600" b="1" dirty="0">
                <a:solidFill>
                  <a:schemeClr val="bg1"/>
                </a:solidFill>
              </a:rPr>
            </a:br>
            <a:br>
              <a:rPr lang="en-US" sz="1600" b="1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Insert text Insert text</a:t>
            </a:r>
          </a:p>
          <a:p>
            <a:pPr lvl="0">
              <a:lnSpc>
                <a:spcPts val="1300"/>
              </a:lnSpc>
            </a:pPr>
            <a:r>
              <a:rPr lang="en-US" sz="1100" dirty="0">
                <a:solidFill>
                  <a:schemeClr val="bg1"/>
                </a:solidFill>
              </a:rPr>
              <a:t>Insert text Insert text</a:t>
            </a:r>
          </a:p>
          <a:p>
            <a:pPr lvl="0">
              <a:lnSpc>
                <a:spcPts val="1300"/>
              </a:lnSpc>
            </a:pPr>
            <a:r>
              <a:rPr lang="en-US" sz="1100" dirty="0">
                <a:solidFill>
                  <a:schemeClr val="bg1"/>
                </a:solidFill>
              </a:rPr>
              <a:t>Insert text Insert text</a:t>
            </a:r>
          </a:p>
          <a:p>
            <a:pPr lvl="0">
              <a:lnSpc>
                <a:spcPts val="1300"/>
              </a:lnSpc>
              <a:spcAft>
                <a:spcPts val="1200"/>
              </a:spcAft>
            </a:pPr>
            <a:endParaRPr lang="en-US" sz="16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A6EEB74D-394D-073C-32B2-E26A1A14A686}"/>
              </a:ext>
            </a:extLst>
          </p:cNvPr>
          <p:cNvSpPr/>
          <p:nvPr/>
        </p:nvSpPr>
        <p:spPr>
          <a:xfrm>
            <a:off x="8669482" y="4014317"/>
            <a:ext cx="2684318" cy="1967345"/>
          </a:xfrm>
          <a:custGeom>
            <a:avLst/>
            <a:gdLst>
              <a:gd name="connsiteX0" fmla="*/ 0 w 2684318"/>
              <a:gd name="connsiteY0" fmla="*/ 0 h 1967345"/>
              <a:gd name="connsiteX1" fmla="*/ 2684318 w 2684318"/>
              <a:gd name="connsiteY1" fmla="*/ 0 h 1967345"/>
              <a:gd name="connsiteX2" fmla="*/ 2684318 w 2684318"/>
              <a:gd name="connsiteY2" fmla="*/ 1967345 h 1967345"/>
              <a:gd name="connsiteX3" fmla="*/ 0 w 2684318"/>
              <a:gd name="connsiteY3" fmla="*/ 1967345 h 1967345"/>
              <a:gd name="connsiteX4" fmla="*/ 0 w 2684318"/>
              <a:gd name="connsiteY4" fmla="*/ 1750569 h 1967345"/>
              <a:gd name="connsiteX5" fmla="*/ 62161 w 2684318"/>
              <a:gd name="connsiteY5" fmla="*/ 1746929 h 1967345"/>
              <a:gd name="connsiteX6" fmla="*/ 259834 w 2684318"/>
              <a:gd name="connsiteY6" fmla="*/ 1683242 h 1967345"/>
              <a:gd name="connsiteX7" fmla="*/ 449632 w 2684318"/>
              <a:gd name="connsiteY7" fmla="*/ 1495000 h 1967345"/>
              <a:gd name="connsiteX8" fmla="*/ 517565 w 2684318"/>
              <a:gd name="connsiteY8" fmla="*/ 1230527 h 1967345"/>
              <a:gd name="connsiteX9" fmla="*/ 401405 w 2684318"/>
              <a:gd name="connsiteY9" fmla="*/ 855080 h 1967345"/>
              <a:gd name="connsiteX10" fmla="*/ 89224 w 2684318"/>
              <a:gd name="connsiteY10" fmla="*/ 711954 h 1967345"/>
              <a:gd name="connsiteX11" fmla="*/ 2881 w 2684318"/>
              <a:gd name="connsiteY11" fmla="*/ 719214 h 1967345"/>
              <a:gd name="connsiteX12" fmla="*/ 0 w 2684318"/>
              <a:gd name="connsiteY12" fmla="*/ 720013 h 1967345"/>
              <a:gd name="connsiteX13" fmla="*/ 0 w 2684318"/>
              <a:gd name="connsiteY13" fmla="*/ 534107 h 1967345"/>
              <a:gd name="connsiteX14" fmla="*/ 12961 w 2684318"/>
              <a:gd name="connsiteY14" fmla="*/ 526208 h 1967345"/>
              <a:gd name="connsiteX15" fmla="*/ 267613 w 2684318"/>
              <a:gd name="connsiteY15" fmla="*/ 473411 h 1967345"/>
              <a:gd name="connsiteX16" fmla="*/ 283170 w 2684318"/>
              <a:gd name="connsiteY16" fmla="*/ 473411 h 1967345"/>
              <a:gd name="connsiteX17" fmla="*/ 283170 w 2684318"/>
              <a:gd name="connsiteY17" fmla="*/ 198567 h 1967345"/>
              <a:gd name="connsiteX18" fmla="*/ 230276 w 2684318"/>
              <a:gd name="connsiteY18" fmla="*/ 198567 h 1967345"/>
              <a:gd name="connsiteX19" fmla="*/ 14290 w 2684318"/>
              <a:gd name="connsiteY19" fmla="*/ 225015 h 1967345"/>
              <a:gd name="connsiteX20" fmla="*/ 0 w 2684318"/>
              <a:gd name="connsiteY20" fmla="*/ 229719 h 1967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684318" h="1967345">
                <a:moveTo>
                  <a:pt x="0" y="0"/>
                </a:moveTo>
                <a:lnTo>
                  <a:pt x="2684318" y="0"/>
                </a:lnTo>
                <a:lnTo>
                  <a:pt x="2684318" y="1967345"/>
                </a:lnTo>
                <a:lnTo>
                  <a:pt x="0" y="1967345"/>
                </a:lnTo>
                <a:lnTo>
                  <a:pt x="0" y="1750569"/>
                </a:lnTo>
                <a:lnTo>
                  <a:pt x="62161" y="1746929"/>
                </a:lnTo>
                <a:cubicBezTo>
                  <a:pt x="133011" y="1738437"/>
                  <a:pt x="198902" y="1717208"/>
                  <a:pt x="259834" y="1683242"/>
                </a:cubicBezTo>
                <a:cubicBezTo>
                  <a:pt x="341077" y="1637953"/>
                  <a:pt x="404343" y="1575206"/>
                  <a:pt x="449632" y="1495000"/>
                </a:cubicBezTo>
                <a:cubicBezTo>
                  <a:pt x="494921" y="1414794"/>
                  <a:pt x="517565" y="1326636"/>
                  <a:pt x="517565" y="1230527"/>
                </a:cubicBezTo>
                <a:cubicBezTo>
                  <a:pt x="517565" y="1075647"/>
                  <a:pt x="478845" y="950498"/>
                  <a:pt x="401405" y="855080"/>
                </a:cubicBezTo>
                <a:cubicBezTo>
                  <a:pt x="323964" y="759663"/>
                  <a:pt x="219904" y="711954"/>
                  <a:pt x="89224" y="711954"/>
                </a:cubicBezTo>
                <a:cubicBezTo>
                  <a:pt x="59147" y="711954"/>
                  <a:pt x="30366" y="714374"/>
                  <a:pt x="2881" y="719214"/>
                </a:cubicBezTo>
                <a:lnTo>
                  <a:pt x="0" y="720013"/>
                </a:lnTo>
                <a:lnTo>
                  <a:pt x="0" y="534107"/>
                </a:lnTo>
                <a:lnTo>
                  <a:pt x="12961" y="526208"/>
                </a:lnTo>
                <a:cubicBezTo>
                  <a:pt x="84719" y="491010"/>
                  <a:pt x="169602" y="473411"/>
                  <a:pt x="267613" y="473411"/>
                </a:cubicBezTo>
                <a:lnTo>
                  <a:pt x="283170" y="473411"/>
                </a:lnTo>
                <a:lnTo>
                  <a:pt x="283170" y="198567"/>
                </a:lnTo>
                <a:lnTo>
                  <a:pt x="230276" y="198567"/>
                </a:lnTo>
                <a:cubicBezTo>
                  <a:pt x="154910" y="198567"/>
                  <a:pt x="82915" y="207383"/>
                  <a:pt x="14290" y="225015"/>
                </a:cubicBezTo>
                <a:lnTo>
                  <a:pt x="0" y="22971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ts val="13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bg1"/>
                </a:solidFill>
              </a:rPr>
              <a:t>Insert Text Here </a:t>
            </a:r>
            <a:br>
              <a:rPr lang="en-US" sz="1600" b="1" dirty="0">
                <a:solidFill>
                  <a:schemeClr val="bg1"/>
                </a:solidFill>
              </a:rPr>
            </a:br>
            <a:endParaRPr lang="en-US" sz="1600" b="1" dirty="0">
              <a:solidFill>
                <a:schemeClr val="bg1"/>
              </a:solidFill>
            </a:endParaRPr>
          </a:p>
          <a:p>
            <a:pPr lvl="0">
              <a:lnSpc>
                <a:spcPts val="1300"/>
              </a:lnSpc>
              <a:spcAft>
                <a:spcPts val="1200"/>
              </a:spcAft>
            </a:pPr>
            <a:r>
              <a:rPr lang="en-US" sz="1100" dirty="0">
                <a:solidFill>
                  <a:schemeClr val="bg1"/>
                </a:solidFill>
              </a:rPr>
              <a:t>Insert text Insert text</a:t>
            </a:r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Insert text Insert text</a:t>
            </a:r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Insert text Insert text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F39D000-FA84-1C67-628B-4ED436BE62EB}"/>
              </a:ext>
            </a:extLst>
          </p:cNvPr>
          <p:cNvSpPr/>
          <p:nvPr/>
        </p:nvSpPr>
        <p:spPr>
          <a:xfrm>
            <a:off x="356994" y="1781293"/>
            <a:ext cx="694888" cy="1510085"/>
          </a:xfrm>
          <a:custGeom>
            <a:avLst/>
            <a:gdLst/>
            <a:ahLst/>
            <a:cxnLst/>
            <a:rect l="l" t="t" r="r" b="b"/>
            <a:pathLst>
              <a:path w="694888" h="1510085">
                <a:moveTo>
                  <a:pt x="662737" y="0"/>
                </a:moveTo>
                <a:lnTo>
                  <a:pt x="694888" y="0"/>
                </a:lnTo>
                <a:lnTo>
                  <a:pt x="694888" y="1510085"/>
                </a:lnTo>
                <a:lnTo>
                  <a:pt x="344333" y="1510085"/>
                </a:lnTo>
                <a:lnTo>
                  <a:pt x="344333" y="394116"/>
                </a:lnTo>
                <a:lnTo>
                  <a:pt x="0" y="494719"/>
                </a:lnTo>
                <a:lnTo>
                  <a:pt x="0" y="229209"/>
                </a:lnTo>
                <a:lnTo>
                  <a:pt x="662737" y="0"/>
                </a:lnTo>
                <a:close/>
              </a:path>
            </a:pathLst>
          </a:custGeom>
          <a:solidFill>
            <a:schemeClr val="accent1"/>
          </a:solidFill>
          <a:ln w="1016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59EB66FA-156B-E966-C382-5787C1FBB58D}"/>
              </a:ext>
            </a:extLst>
          </p:cNvPr>
          <p:cNvSpPr/>
          <p:nvPr/>
        </p:nvSpPr>
        <p:spPr>
          <a:xfrm>
            <a:off x="80202" y="4234664"/>
            <a:ext cx="1107672" cy="1510085"/>
          </a:xfrm>
          <a:custGeom>
            <a:avLst/>
            <a:gdLst/>
            <a:ahLst/>
            <a:cxnLst/>
            <a:rect l="l" t="t" r="r" b="b"/>
            <a:pathLst>
              <a:path w="1107672" h="1510085">
                <a:moveTo>
                  <a:pt x="604656" y="0"/>
                </a:moveTo>
                <a:lnTo>
                  <a:pt x="954174" y="0"/>
                </a:lnTo>
                <a:lnTo>
                  <a:pt x="954174" y="919949"/>
                </a:lnTo>
                <a:lnTo>
                  <a:pt x="1107672" y="919949"/>
                </a:lnTo>
                <a:lnTo>
                  <a:pt x="1107672" y="1189607"/>
                </a:lnTo>
                <a:lnTo>
                  <a:pt x="954174" y="1189607"/>
                </a:lnTo>
                <a:lnTo>
                  <a:pt x="954174" y="1510085"/>
                </a:lnTo>
                <a:lnTo>
                  <a:pt x="604656" y="1510085"/>
                </a:lnTo>
                <a:lnTo>
                  <a:pt x="604656" y="1189607"/>
                </a:lnTo>
                <a:lnTo>
                  <a:pt x="20743" y="1189607"/>
                </a:lnTo>
                <a:lnTo>
                  <a:pt x="0" y="975955"/>
                </a:lnTo>
                <a:lnTo>
                  <a:pt x="604656" y="3112"/>
                </a:lnTo>
                <a:lnTo>
                  <a:pt x="604656" y="0"/>
                </a:lnTo>
                <a:close/>
                <a:moveTo>
                  <a:pt x="604656" y="455307"/>
                </a:moveTo>
                <a:lnTo>
                  <a:pt x="582876" y="490570"/>
                </a:lnTo>
                <a:lnTo>
                  <a:pt x="332924" y="919949"/>
                </a:lnTo>
                <a:lnTo>
                  <a:pt x="604656" y="919949"/>
                </a:lnTo>
                <a:lnTo>
                  <a:pt x="604656" y="455307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016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9CE9A68D-4F42-BE08-14A6-5B1C5BDCC01C}"/>
              </a:ext>
            </a:extLst>
          </p:cNvPr>
          <p:cNvSpPr/>
          <p:nvPr/>
        </p:nvSpPr>
        <p:spPr>
          <a:xfrm>
            <a:off x="8064856" y="1759513"/>
            <a:ext cx="1097301" cy="1552608"/>
          </a:xfrm>
          <a:custGeom>
            <a:avLst/>
            <a:gdLst/>
            <a:ahLst/>
            <a:cxnLst/>
            <a:rect l="l" t="t" r="r" b="b"/>
            <a:pathLst>
              <a:path w="1097301" h="1552608">
                <a:moveTo>
                  <a:pt x="533093" y="0"/>
                </a:moveTo>
                <a:cubicBezTo>
                  <a:pt x="701111" y="0"/>
                  <a:pt x="833174" y="38374"/>
                  <a:pt x="929283" y="115123"/>
                </a:cubicBezTo>
                <a:cubicBezTo>
                  <a:pt x="1025392" y="191872"/>
                  <a:pt x="1073446" y="297315"/>
                  <a:pt x="1073446" y="431453"/>
                </a:cubicBezTo>
                <a:cubicBezTo>
                  <a:pt x="1073446" y="496447"/>
                  <a:pt x="1053568" y="557812"/>
                  <a:pt x="1013810" y="615546"/>
                </a:cubicBezTo>
                <a:cubicBezTo>
                  <a:pt x="974053" y="673281"/>
                  <a:pt x="916146" y="720125"/>
                  <a:pt x="840088" y="756079"/>
                </a:cubicBezTo>
                <a:cubicBezTo>
                  <a:pt x="920294" y="785120"/>
                  <a:pt x="983214" y="829198"/>
                  <a:pt x="1028849" y="888316"/>
                </a:cubicBezTo>
                <a:cubicBezTo>
                  <a:pt x="1074483" y="947433"/>
                  <a:pt x="1097301" y="1020552"/>
                  <a:pt x="1097301" y="1107672"/>
                </a:cubicBezTo>
                <a:cubicBezTo>
                  <a:pt x="1097301" y="1242501"/>
                  <a:pt x="1045443" y="1350364"/>
                  <a:pt x="941729" y="1431262"/>
                </a:cubicBezTo>
                <a:cubicBezTo>
                  <a:pt x="838014" y="1512159"/>
                  <a:pt x="701802" y="1552608"/>
                  <a:pt x="533093" y="1552608"/>
                </a:cubicBezTo>
                <a:cubicBezTo>
                  <a:pt x="434219" y="1552608"/>
                  <a:pt x="342431" y="1533766"/>
                  <a:pt x="257731" y="1496083"/>
                </a:cubicBezTo>
                <a:cubicBezTo>
                  <a:pt x="173031" y="1458400"/>
                  <a:pt x="108900" y="1406197"/>
                  <a:pt x="65340" y="1339474"/>
                </a:cubicBezTo>
                <a:cubicBezTo>
                  <a:pt x="21780" y="1272751"/>
                  <a:pt x="0" y="1196867"/>
                  <a:pt x="0" y="1111821"/>
                </a:cubicBezTo>
                <a:lnTo>
                  <a:pt x="351593" y="1111821"/>
                </a:lnTo>
                <a:cubicBezTo>
                  <a:pt x="351593" y="1158146"/>
                  <a:pt x="370261" y="1198249"/>
                  <a:pt x="407598" y="1232130"/>
                </a:cubicBezTo>
                <a:cubicBezTo>
                  <a:pt x="444936" y="1266010"/>
                  <a:pt x="490916" y="1282950"/>
                  <a:pt x="545539" y="1282950"/>
                </a:cubicBezTo>
                <a:cubicBezTo>
                  <a:pt x="607076" y="1282950"/>
                  <a:pt x="656168" y="1265837"/>
                  <a:pt x="692814" y="1231611"/>
                </a:cubicBezTo>
                <a:cubicBezTo>
                  <a:pt x="729459" y="1197385"/>
                  <a:pt x="747782" y="1153652"/>
                  <a:pt x="747782" y="1100412"/>
                </a:cubicBezTo>
                <a:cubicBezTo>
                  <a:pt x="747782" y="1024355"/>
                  <a:pt x="728768" y="970423"/>
                  <a:pt x="690739" y="938617"/>
                </a:cubicBezTo>
                <a:cubicBezTo>
                  <a:pt x="652711" y="906811"/>
                  <a:pt x="600162" y="890908"/>
                  <a:pt x="533093" y="890908"/>
                </a:cubicBezTo>
                <a:lnTo>
                  <a:pt x="363001" y="890908"/>
                </a:lnTo>
                <a:lnTo>
                  <a:pt x="363001" y="630585"/>
                </a:lnTo>
                <a:lnTo>
                  <a:pt x="527907" y="630585"/>
                </a:lnTo>
                <a:cubicBezTo>
                  <a:pt x="658588" y="630585"/>
                  <a:pt x="723928" y="566627"/>
                  <a:pt x="723928" y="438713"/>
                </a:cubicBezTo>
                <a:cubicBezTo>
                  <a:pt x="723928" y="388930"/>
                  <a:pt x="708371" y="348308"/>
                  <a:pt x="677256" y="316848"/>
                </a:cubicBezTo>
                <a:cubicBezTo>
                  <a:pt x="646142" y="285388"/>
                  <a:pt x="602236" y="269658"/>
                  <a:pt x="545539" y="269658"/>
                </a:cubicBezTo>
                <a:cubicBezTo>
                  <a:pt x="499213" y="269658"/>
                  <a:pt x="458937" y="283141"/>
                  <a:pt x="424711" y="310107"/>
                </a:cubicBezTo>
                <a:cubicBezTo>
                  <a:pt x="390486" y="337072"/>
                  <a:pt x="373373" y="370607"/>
                  <a:pt x="373373" y="410710"/>
                </a:cubicBezTo>
                <a:lnTo>
                  <a:pt x="23854" y="410710"/>
                </a:lnTo>
                <a:cubicBezTo>
                  <a:pt x="23854" y="331195"/>
                  <a:pt x="45980" y="260324"/>
                  <a:pt x="90232" y="198095"/>
                </a:cubicBezTo>
                <a:cubicBezTo>
                  <a:pt x="134483" y="135866"/>
                  <a:pt x="195848" y="87293"/>
                  <a:pt x="274325" y="52376"/>
                </a:cubicBezTo>
                <a:cubicBezTo>
                  <a:pt x="352803" y="17459"/>
                  <a:pt x="439059" y="0"/>
                  <a:pt x="533093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016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14094E0-2CC8-BE87-8829-42BCA12FAD38}"/>
              </a:ext>
            </a:extLst>
          </p:cNvPr>
          <p:cNvSpPr/>
          <p:nvPr/>
        </p:nvSpPr>
        <p:spPr>
          <a:xfrm>
            <a:off x="8102193" y="4212884"/>
            <a:ext cx="1084855" cy="1552608"/>
          </a:xfrm>
          <a:custGeom>
            <a:avLst/>
            <a:gdLst/>
            <a:ahLst/>
            <a:cxnLst/>
            <a:rect l="l" t="t" r="r" b="b"/>
            <a:pathLst>
              <a:path w="1084855" h="1552608">
                <a:moveTo>
                  <a:pt x="797566" y="0"/>
                </a:moveTo>
                <a:lnTo>
                  <a:pt x="850460" y="0"/>
                </a:lnTo>
                <a:lnTo>
                  <a:pt x="850460" y="274844"/>
                </a:lnTo>
                <a:lnTo>
                  <a:pt x="834903" y="274844"/>
                </a:lnTo>
                <a:cubicBezTo>
                  <a:pt x="704222" y="274844"/>
                  <a:pt x="596878" y="306131"/>
                  <a:pt x="512869" y="368706"/>
                </a:cubicBezTo>
                <a:cubicBezTo>
                  <a:pt x="428860" y="431280"/>
                  <a:pt x="377176" y="518227"/>
                  <a:pt x="357816" y="629548"/>
                </a:cubicBezTo>
                <a:cubicBezTo>
                  <a:pt x="436639" y="552107"/>
                  <a:pt x="536205" y="513387"/>
                  <a:pt x="656514" y="513387"/>
                </a:cubicBezTo>
                <a:cubicBezTo>
                  <a:pt x="787194" y="513387"/>
                  <a:pt x="891254" y="561096"/>
                  <a:pt x="968695" y="656513"/>
                </a:cubicBezTo>
                <a:cubicBezTo>
                  <a:pt x="1046135" y="751931"/>
                  <a:pt x="1084855" y="877080"/>
                  <a:pt x="1084855" y="1031960"/>
                </a:cubicBezTo>
                <a:cubicBezTo>
                  <a:pt x="1084855" y="1128069"/>
                  <a:pt x="1062211" y="1216227"/>
                  <a:pt x="1016922" y="1296433"/>
                </a:cubicBezTo>
                <a:cubicBezTo>
                  <a:pt x="971633" y="1376639"/>
                  <a:pt x="908367" y="1439386"/>
                  <a:pt x="827124" y="1484675"/>
                </a:cubicBezTo>
                <a:cubicBezTo>
                  <a:pt x="745881" y="1529963"/>
                  <a:pt x="655822" y="1552608"/>
                  <a:pt x="556948" y="1552608"/>
                </a:cubicBezTo>
                <a:cubicBezTo>
                  <a:pt x="449776" y="1552608"/>
                  <a:pt x="354013" y="1528235"/>
                  <a:pt x="269658" y="1479489"/>
                </a:cubicBezTo>
                <a:cubicBezTo>
                  <a:pt x="185304" y="1430743"/>
                  <a:pt x="119618" y="1361081"/>
                  <a:pt x="72601" y="1270504"/>
                </a:cubicBezTo>
                <a:cubicBezTo>
                  <a:pt x="25583" y="1179926"/>
                  <a:pt x="1383" y="1075520"/>
                  <a:pt x="0" y="957286"/>
                </a:cubicBezTo>
                <a:lnTo>
                  <a:pt x="0" y="817271"/>
                </a:lnTo>
                <a:cubicBezTo>
                  <a:pt x="0" y="661699"/>
                  <a:pt x="33362" y="521857"/>
                  <a:pt x="100085" y="397746"/>
                </a:cubicBezTo>
                <a:cubicBezTo>
                  <a:pt x="166808" y="273634"/>
                  <a:pt x="262053" y="176315"/>
                  <a:pt x="385819" y="105789"/>
                </a:cubicBezTo>
                <a:cubicBezTo>
                  <a:pt x="509585" y="35263"/>
                  <a:pt x="646834" y="0"/>
                  <a:pt x="797566" y="0"/>
                </a:cubicBezTo>
                <a:close/>
                <a:moveTo>
                  <a:pt x="535168" y="783045"/>
                </a:moveTo>
                <a:cubicBezTo>
                  <a:pt x="488842" y="783045"/>
                  <a:pt x="450122" y="793719"/>
                  <a:pt x="419007" y="815067"/>
                </a:cubicBezTo>
                <a:cubicBezTo>
                  <a:pt x="387893" y="836415"/>
                  <a:pt x="364730" y="862581"/>
                  <a:pt x="349519" y="893566"/>
                </a:cubicBezTo>
                <a:lnTo>
                  <a:pt x="349519" y="997880"/>
                </a:lnTo>
                <a:cubicBezTo>
                  <a:pt x="349519" y="1187927"/>
                  <a:pt x="415550" y="1282950"/>
                  <a:pt x="547613" y="1282950"/>
                </a:cubicBezTo>
                <a:cubicBezTo>
                  <a:pt x="600854" y="1282950"/>
                  <a:pt x="645278" y="1259193"/>
                  <a:pt x="680887" y="1211678"/>
                </a:cubicBezTo>
                <a:cubicBezTo>
                  <a:pt x="716495" y="1164164"/>
                  <a:pt x="734300" y="1104604"/>
                  <a:pt x="734300" y="1032997"/>
                </a:cubicBezTo>
                <a:cubicBezTo>
                  <a:pt x="734300" y="959317"/>
                  <a:pt x="716150" y="899238"/>
                  <a:pt x="679850" y="852761"/>
                </a:cubicBezTo>
                <a:cubicBezTo>
                  <a:pt x="643549" y="806284"/>
                  <a:pt x="595322" y="783045"/>
                  <a:pt x="535168" y="783045"/>
                </a:cubicBezTo>
                <a:close/>
              </a:path>
            </a:pathLst>
          </a:custGeom>
          <a:solidFill>
            <a:schemeClr val="accent5">
              <a:lumMod val="50000"/>
            </a:schemeClr>
          </a:solidFill>
          <a:ln w="1016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0BF821B-7342-0187-FF3A-2F75FC8714DC}"/>
              </a:ext>
            </a:extLst>
          </p:cNvPr>
          <p:cNvSpPr/>
          <p:nvPr/>
        </p:nvSpPr>
        <p:spPr>
          <a:xfrm>
            <a:off x="4283447" y="4234664"/>
            <a:ext cx="1054794" cy="1530828"/>
          </a:xfrm>
          <a:custGeom>
            <a:avLst/>
            <a:gdLst/>
            <a:ahLst/>
            <a:cxnLst/>
            <a:rect l="l" t="t" r="r" b="b"/>
            <a:pathLst>
              <a:path w="1054794" h="1530828">
                <a:moveTo>
                  <a:pt x="121362" y="0"/>
                </a:moveTo>
                <a:lnTo>
                  <a:pt x="1003973" y="0"/>
                </a:lnTo>
                <a:lnTo>
                  <a:pt x="1003973" y="269658"/>
                </a:lnTo>
                <a:lnTo>
                  <a:pt x="405540" y="269658"/>
                </a:lnTo>
                <a:lnTo>
                  <a:pt x="371314" y="571711"/>
                </a:lnTo>
                <a:cubicBezTo>
                  <a:pt x="396206" y="557126"/>
                  <a:pt x="428876" y="544278"/>
                  <a:pt x="469325" y="533166"/>
                </a:cubicBezTo>
                <a:cubicBezTo>
                  <a:pt x="509773" y="522055"/>
                  <a:pt x="549358" y="516499"/>
                  <a:pt x="588078" y="516499"/>
                </a:cubicBezTo>
                <a:cubicBezTo>
                  <a:pt x="738118" y="516499"/>
                  <a:pt x="853414" y="560923"/>
                  <a:pt x="933966" y="649772"/>
                </a:cubicBezTo>
                <a:cubicBezTo>
                  <a:pt x="1014518" y="738621"/>
                  <a:pt x="1054794" y="863251"/>
                  <a:pt x="1054794" y="1023663"/>
                </a:cubicBezTo>
                <a:cubicBezTo>
                  <a:pt x="1054794" y="1120464"/>
                  <a:pt x="1033186" y="1208102"/>
                  <a:pt x="989972" y="1286580"/>
                </a:cubicBezTo>
                <a:cubicBezTo>
                  <a:pt x="946757" y="1365057"/>
                  <a:pt x="886084" y="1425384"/>
                  <a:pt x="807953" y="1467562"/>
                </a:cubicBezTo>
                <a:cubicBezTo>
                  <a:pt x="729821" y="1509739"/>
                  <a:pt x="637515" y="1530828"/>
                  <a:pt x="531035" y="1530828"/>
                </a:cubicBezTo>
                <a:cubicBezTo>
                  <a:pt x="436309" y="1530828"/>
                  <a:pt x="347460" y="1511311"/>
                  <a:pt x="264488" y="1472277"/>
                </a:cubicBezTo>
                <a:cubicBezTo>
                  <a:pt x="181517" y="1433244"/>
                  <a:pt x="116522" y="1379701"/>
                  <a:pt x="69505" y="1311649"/>
                </a:cubicBezTo>
                <a:cubicBezTo>
                  <a:pt x="22487" y="1243598"/>
                  <a:pt x="-675" y="1166741"/>
                  <a:pt x="16" y="1081079"/>
                </a:cubicBezTo>
                <a:lnTo>
                  <a:pt x="350571" y="1081079"/>
                </a:lnTo>
                <a:cubicBezTo>
                  <a:pt x="354029" y="1136275"/>
                  <a:pt x="371660" y="1180089"/>
                  <a:pt x="403466" y="1212521"/>
                </a:cubicBezTo>
                <a:cubicBezTo>
                  <a:pt x="435272" y="1244954"/>
                  <a:pt x="477103" y="1261170"/>
                  <a:pt x="528960" y="1261170"/>
                </a:cubicBezTo>
                <a:cubicBezTo>
                  <a:pt x="646504" y="1261170"/>
                  <a:pt x="705275" y="1174228"/>
                  <a:pt x="705275" y="1000344"/>
                </a:cubicBezTo>
                <a:cubicBezTo>
                  <a:pt x="705275" y="839575"/>
                  <a:pt x="633367" y="759191"/>
                  <a:pt x="489549" y="759191"/>
                </a:cubicBezTo>
                <a:cubicBezTo>
                  <a:pt x="407960" y="759191"/>
                  <a:pt x="347114" y="785411"/>
                  <a:pt x="307011" y="837852"/>
                </a:cubicBezTo>
                <a:lnTo>
                  <a:pt x="29056" y="772447"/>
                </a:lnTo>
                <a:lnTo>
                  <a:pt x="121362" y="0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1016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F22CCA9-995F-2AE1-3E6D-8AB24DD22FAB}"/>
              </a:ext>
            </a:extLst>
          </p:cNvPr>
          <p:cNvSpPr/>
          <p:nvPr/>
        </p:nvSpPr>
        <p:spPr>
          <a:xfrm>
            <a:off x="4260646" y="1759513"/>
            <a:ext cx="1084855" cy="1531865"/>
          </a:xfrm>
          <a:custGeom>
            <a:avLst/>
            <a:gdLst/>
            <a:ahLst/>
            <a:cxnLst/>
            <a:rect l="l" t="t" r="r" b="b"/>
            <a:pathLst>
              <a:path w="1084855" h="1531865">
                <a:moveTo>
                  <a:pt x="538279" y="0"/>
                </a:moveTo>
                <a:cubicBezTo>
                  <a:pt x="701456" y="0"/>
                  <a:pt x="827124" y="37683"/>
                  <a:pt x="915281" y="113049"/>
                </a:cubicBezTo>
                <a:cubicBezTo>
                  <a:pt x="1003439" y="188415"/>
                  <a:pt x="1047517" y="296624"/>
                  <a:pt x="1047517" y="437676"/>
                </a:cubicBezTo>
                <a:cubicBezTo>
                  <a:pt x="1047517" y="497139"/>
                  <a:pt x="1036454" y="555046"/>
                  <a:pt x="1014329" y="611398"/>
                </a:cubicBezTo>
                <a:cubicBezTo>
                  <a:pt x="992203" y="667749"/>
                  <a:pt x="957804" y="726866"/>
                  <a:pt x="911133" y="788750"/>
                </a:cubicBezTo>
                <a:cubicBezTo>
                  <a:pt x="864461" y="850633"/>
                  <a:pt x="789268" y="933431"/>
                  <a:pt x="685553" y="1037146"/>
                </a:cubicBezTo>
                <a:lnTo>
                  <a:pt x="490570" y="1262207"/>
                </a:lnTo>
                <a:lnTo>
                  <a:pt x="1084855" y="1262207"/>
                </a:lnTo>
                <a:lnTo>
                  <a:pt x="1084855" y="1531865"/>
                </a:lnTo>
                <a:lnTo>
                  <a:pt x="31114" y="1531865"/>
                </a:lnTo>
                <a:lnTo>
                  <a:pt x="31114" y="1303693"/>
                </a:lnTo>
                <a:lnTo>
                  <a:pt x="516499" y="793417"/>
                </a:lnTo>
                <a:cubicBezTo>
                  <a:pt x="636116" y="657205"/>
                  <a:pt x="695925" y="548996"/>
                  <a:pt x="695925" y="468790"/>
                </a:cubicBezTo>
                <a:cubicBezTo>
                  <a:pt x="695925" y="403796"/>
                  <a:pt x="681750" y="354358"/>
                  <a:pt x="653402" y="320478"/>
                </a:cubicBezTo>
                <a:cubicBezTo>
                  <a:pt x="625053" y="286598"/>
                  <a:pt x="583913" y="269658"/>
                  <a:pt x="529981" y="269658"/>
                </a:cubicBezTo>
                <a:cubicBezTo>
                  <a:pt x="476741" y="269658"/>
                  <a:pt x="433527" y="292302"/>
                  <a:pt x="400338" y="337591"/>
                </a:cubicBezTo>
                <a:cubicBezTo>
                  <a:pt x="367149" y="382880"/>
                  <a:pt x="350555" y="439404"/>
                  <a:pt x="350555" y="507164"/>
                </a:cubicBezTo>
                <a:lnTo>
                  <a:pt x="0" y="507164"/>
                </a:lnTo>
                <a:cubicBezTo>
                  <a:pt x="0" y="414513"/>
                  <a:pt x="23163" y="328948"/>
                  <a:pt x="69489" y="250471"/>
                </a:cubicBezTo>
                <a:cubicBezTo>
                  <a:pt x="115814" y="171993"/>
                  <a:pt x="180117" y="110629"/>
                  <a:pt x="262398" y="66377"/>
                </a:cubicBezTo>
                <a:cubicBezTo>
                  <a:pt x="344678" y="22126"/>
                  <a:pt x="436638" y="0"/>
                  <a:pt x="538279" y="0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 w="1016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717019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1</TotalTime>
  <Words>100</Words>
  <Application>Microsoft Office PowerPoint</Application>
  <PresentationFormat>Widescreen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6 agend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63</cp:revision>
  <dcterms:created xsi:type="dcterms:W3CDTF">2021-03-31T02:49:57Z</dcterms:created>
  <dcterms:modified xsi:type="dcterms:W3CDTF">2025-10-16T11:06:08Z</dcterms:modified>
  <cp:category/>
</cp:coreProperties>
</file>